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7.xml" ContentType="application/vnd.openxmlformats-officedocument.presentationml.slide+xml"/>
  <Override PartName="/ppt/tags/tag114.xml" ContentType="application/vnd.openxmlformats-officedocument.presentationml.tags+xml"/>
  <Override PartName="/ppt/notesSlides/notesSlide17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62" r:id="rId2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7.xml" Id="rId20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.xml.rels>&#65279;<?xml version="1.0" encoding="utf-8"?><Relationships xmlns="http://schemas.openxmlformats.org/package/2006/relationships"><Relationship Type="http://schemas.openxmlformats.org/officeDocument/2006/relationships/slide" Target="/ppt/slides/slide17.xml" Id="rId2" /><Relationship Type="http://schemas.openxmlformats.org/officeDocument/2006/relationships/notesMaster" Target="/ppt/notesMasters/notesMaster1.xml" Id="rId1" /></Relationship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11758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14.xml" Id="rId2" /><Relationship Type="http://schemas.openxmlformats.org/officeDocument/2006/relationships/vmlDrawing" Target="/ppt/drawings/vmlDrawing21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1.bin" Id="rId5" /><Relationship Type="http://schemas.openxmlformats.org/officeDocument/2006/relationships/notesSlide" Target="/ppt/notesSlides/notesSlide17.xml" Id="rId4" /></Relationships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0089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Funnel I</a:t>
            </a:r>
          </a:p>
        </p:txBody>
      </p:sp>
      <p:sp>
        <p:nvSpPr>
          <p:cNvPr id="2" name="Rectangle 20">
            <a:extLst>
              <a:ext uri="{FF2B5EF4-FFF2-40B4-BE49-F238E27FC236}">
                <a16:creationId xmlns:a16="http://schemas.microsoft.com/office/drawing/2014/main" id="{19C93844-78DA-A046-AEF0-D9ADC0C91600}"/>
              </a:ext>
            </a:extLst>
          </p:cNvPr>
          <p:cNvSpPr>
            <a:spLocks/>
          </p:cNvSpPr>
          <p:nvPr/>
        </p:nvSpPr>
        <p:spPr>
          <a:xfrm>
            <a:off x="2401948" y="2491157"/>
            <a:ext cx="3175713" cy="3089314"/>
          </a:xfrm>
          <a:custGeom>
            <a:avLst/>
            <a:gdLst>
              <a:gd name="connsiteX0" fmla="*/ 0 w 3621303"/>
              <a:gd name="connsiteY0" fmla="*/ 0 h 3554678"/>
              <a:gd name="connsiteX1" fmla="*/ 3621303 w 3621303"/>
              <a:gd name="connsiteY1" fmla="*/ 0 h 3554678"/>
              <a:gd name="connsiteX2" fmla="*/ 3621303 w 3621303"/>
              <a:gd name="connsiteY2" fmla="*/ 3554678 h 3554678"/>
              <a:gd name="connsiteX3" fmla="*/ 0 w 3621303"/>
              <a:gd name="connsiteY3" fmla="*/ 3554678 h 3554678"/>
              <a:gd name="connsiteX4" fmla="*/ 0 w 3621303"/>
              <a:gd name="connsiteY4" fmla="*/ 0 h 3554678"/>
              <a:gd name="connsiteX0" fmla="*/ 0 w 3621303"/>
              <a:gd name="connsiteY0" fmla="*/ 0 h 3554678"/>
              <a:gd name="connsiteX1" fmla="*/ 3621303 w 3621303"/>
              <a:gd name="connsiteY1" fmla="*/ 0 h 3554678"/>
              <a:gd name="connsiteX2" fmla="*/ 3621303 w 3621303"/>
              <a:gd name="connsiteY2" fmla="*/ 3554678 h 3554678"/>
              <a:gd name="connsiteX3" fmla="*/ 1116419 w 3621303"/>
              <a:gd name="connsiteY3" fmla="*/ 3522781 h 3554678"/>
              <a:gd name="connsiteX4" fmla="*/ 0 w 3621303"/>
              <a:gd name="connsiteY4" fmla="*/ 0 h 3554678"/>
              <a:gd name="connsiteX0" fmla="*/ 0 w 3621303"/>
              <a:gd name="connsiteY0" fmla="*/ 0 h 3522781"/>
              <a:gd name="connsiteX1" fmla="*/ 3621303 w 3621303"/>
              <a:gd name="connsiteY1" fmla="*/ 0 h 3522781"/>
              <a:gd name="connsiteX2" fmla="*/ 2515517 w 3621303"/>
              <a:gd name="connsiteY2" fmla="*/ 3512148 h 3522781"/>
              <a:gd name="connsiteX3" fmla="*/ 1116419 w 3621303"/>
              <a:gd name="connsiteY3" fmla="*/ 3522781 h 3522781"/>
              <a:gd name="connsiteX4" fmla="*/ 0 w 3621303"/>
              <a:gd name="connsiteY4" fmla="*/ 0 h 3522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1303" h="3522781">
                <a:moveTo>
                  <a:pt x="0" y="0"/>
                </a:moveTo>
                <a:lnTo>
                  <a:pt x="3621303" y="0"/>
                </a:lnTo>
                <a:lnTo>
                  <a:pt x="2515517" y="3512148"/>
                </a:lnTo>
                <a:lnTo>
                  <a:pt x="1116419" y="3522781"/>
                </a:lnTo>
                <a:lnTo>
                  <a:pt x="0" y="0"/>
                </a:lnTo>
                <a:close/>
              </a:path>
            </a:pathLst>
          </a:custGeom>
          <a:solidFill>
            <a:srgbClr val="E7E6E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Freeform: Shape 54">
            <a:extLst>
              <a:ext uri="{FF2B5EF4-FFF2-40B4-BE49-F238E27FC236}">
                <a16:creationId xmlns:a16="http://schemas.microsoft.com/office/drawing/2014/main" id="{CCEE5610-2B5B-8EDD-4C40-3DF85D4E17A3}"/>
              </a:ext>
            </a:extLst>
          </p:cNvPr>
          <p:cNvSpPr>
            <a:spLocks/>
          </p:cNvSpPr>
          <p:nvPr/>
        </p:nvSpPr>
        <p:spPr>
          <a:xfrm>
            <a:off x="2356660" y="2290972"/>
            <a:ext cx="3247294" cy="929034"/>
          </a:xfrm>
          <a:custGeom>
            <a:avLst/>
            <a:gdLst>
              <a:gd name="connsiteX0" fmla="*/ 1853971 w 3702928"/>
              <a:gd name="connsiteY0" fmla="*/ 0 h 1059388"/>
              <a:gd name="connsiteX1" fmla="*/ 2805353 w 3702928"/>
              <a:gd name="connsiteY1" fmla="*/ 90464 h 1059388"/>
              <a:gd name="connsiteX2" fmla="*/ 2850615 w 3702928"/>
              <a:gd name="connsiteY2" fmla="*/ 102089 h 1059388"/>
              <a:gd name="connsiteX3" fmla="*/ 3029232 w 3702928"/>
              <a:gd name="connsiteY3" fmla="*/ 129141 h 1059388"/>
              <a:gd name="connsiteX4" fmla="*/ 3057097 w 3702928"/>
              <a:gd name="connsiteY4" fmla="*/ 134677 h 1059388"/>
              <a:gd name="connsiteX5" fmla="*/ 3057097 w 3702928"/>
              <a:gd name="connsiteY5" fmla="*/ 107409 h 1059388"/>
              <a:gd name="connsiteX6" fmla="*/ 3702928 w 3702928"/>
              <a:gd name="connsiteY6" fmla="*/ 107409 h 1059388"/>
              <a:gd name="connsiteX7" fmla="*/ 3702928 w 3702928"/>
              <a:gd name="connsiteY7" fmla="*/ 159037 h 1059388"/>
              <a:gd name="connsiteX8" fmla="*/ 3541652 w 3702928"/>
              <a:gd name="connsiteY8" fmla="*/ 605781 h 1059388"/>
              <a:gd name="connsiteX9" fmla="*/ 3528962 w 3702928"/>
              <a:gd name="connsiteY9" fmla="*/ 611867 h 1059388"/>
              <a:gd name="connsiteX10" fmla="*/ 3521003 w 3702928"/>
              <a:gd name="connsiteY10" fmla="*/ 636446 h 1059388"/>
              <a:gd name="connsiteX11" fmla="*/ 1853971 w 3702928"/>
              <a:gd name="connsiteY11" fmla="*/ 1059388 h 1059388"/>
              <a:gd name="connsiteX12" fmla="*/ 186940 w 3702928"/>
              <a:gd name="connsiteY12" fmla="*/ 636446 h 1059388"/>
              <a:gd name="connsiteX13" fmla="*/ 179836 w 3702928"/>
              <a:gd name="connsiteY13" fmla="*/ 614509 h 1059388"/>
              <a:gd name="connsiteX14" fmla="*/ 162627 w 3702928"/>
              <a:gd name="connsiteY14" fmla="*/ 606255 h 1059388"/>
              <a:gd name="connsiteX15" fmla="*/ 0 w 3702928"/>
              <a:gd name="connsiteY15" fmla="*/ 155770 h 1059388"/>
              <a:gd name="connsiteX16" fmla="*/ 0 w 3702928"/>
              <a:gd name="connsiteY16" fmla="*/ 119640 h 1059388"/>
              <a:gd name="connsiteX17" fmla="*/ 732191 w 3702928"/>
              <a:gd name="connsiteY17" fmla="*/ 119640 h 1059388"/>
              <a:gd name="connsiteX18" fmla="*/ 816575 w 3702928"/>
              <a:gd name="connsiteY18" fmla="*/ 105848 h 1059388"/>
              <a:gd name="connsiteX19" fmla="*/ 867689 w 3702928"/>
              <a:gd name="connsiteY19" fmla="*/ 99427 h 1059388"/>
              <a:gd name="connsiteX20" fmla="*/ 902589 w 3702928"/>
              <a:gd name="connsiteY20" fmla="*/ 90464 h 1059388"/>
              <a:gd name="connsiteX21" fmla="*/ 1853971 w 3702928"/>
              <a:gd name="connsiteY21" fmla="*/ 0 h 1059388"/>
              <a:gd name="connsiteX0" fmla="*/ 1853971 w 3702928"/>
              <a:gd name="connsiteY0" fmla="*/ 0 h 1059388"/>
              <a:gd name="connsiteX1" fmla="*/ 2805353 w 3702928"/>
              <a:gd name="connsiteY1" fmla="*/ 90464 h 1059388"/>
              <a:gd name="connsiteX2" fmla="*/ 2850615 w 3702928"/>
              <a:gd name="connsiteY2" fmla="*/ 102089 h 1059388"/>
              <a:gd name="connsiteX3" fmla="*/ 3029232 w 3702928"/>
              <a:gd name="connsiteY3" fmla="*/ 129141 h 1059388"/>
              <a:gd name="connsiteX4" fmla="*/ 3057097 w 3702928"/>
              <a:gd name="connsiteY4" fmla="*/ 134677 h 1059388"/>
              <a:gd name="connsiteX5" fmla="*/ 3057097 w 3702928"/>
              <a:gd name="connsiteY5" fmla="*/ 107409 h 1059388"/>
              <a:gd name="connsiteX6" fmla="*/ 3702928 w 3702928"/>
              <a:gd name="connsiteY6" fmla="*/ 107409 h 1059388"/>
              <a:gd name="connsiteX7" fmla="*/ 3702928 w 3702928"/>
              <a:gd name="connsiteY7" fmla="*/ 159037 h 1059388"/>
              <a:gd name="connsiteX8" fmla="*/ 3541652 w 3702928"/>
              <a:gd name="connsiteY8" fmla="*/ 605781 h 1059388"/>
              <a:gd name="connsiteX9" fmla="*/ 3521003 w 3702928"/>
              <a:gd name="connsiteY9" fmla="*/ 636446 h 1059388"/>
              <a:gd name="connsiteX10" fmla="*/ 1853971 w 3702928"/>
              <a:gd name="connsiteY10" fmla="*/ 1059388 h 1059388"/>
              <a:gd name="connsiteX11" fmla="*/ 186940 w 3702928"/>
              <a:gd name="connsiteY11" fmla="*/ 636446 h 1059388"/>
              <a:gd name="connsiteX12" fmla="*/ 179836 w 3702928"/>
              <a:gd name="connsiteY12" fmla="*/ 614509 h 1059388"/>
              <a:gd name="connsiteX13" fmla="*/ 162627 w 3702928"/>
              <a:gd name="connsiteY13" fmla="*/ 606255 h 1059388"/>
              <a:gd name="connsiteX14" fmla="*/ 0 w 3702928"/>
              <a:gd name="connsiteY14" fmla="*/ 155770 h 1059388"/>
              <a:gd name="connsiteX15" fmla="*/ 0 w 3702928"/>
              <a:gd name="connsiteY15" fmla="*/ 119640 h 1059388"/>
              <a:gd name="connsiteX16" fmla="*/ 732191 w 3702928"/>
              <a:gd name="connsiteY16" fmla="*/ 119640 h 1059388"/>
              <a:gd name="connsiteX17" fmla="*/ 816575 w 3702928"/>
              <a:gd name="connsiteY17" fmla="*/ 105848 h 1059388"/>
              <a:gd name="connsiteX18" fmla="*/ 867689 w 3702928"/>
              <a:gd name="connsiteY18" fmla="*/ 99427 h 1059388"/>
              <a:gd name="connsiteX19" fmla="*/ 902589 w 3702928"/>
              <a:gd name="connsiteY19" fmla="*/ 90464 h 1059388"/>
              <a:gd name="connsiteX20" fmla="*/ 1853971 w 3702928"/>
              <a:gd name="connsiteY20" fmla="*/ 0 h 1059388"/>
              <a:gd name="connsiteX0" fmla="*/ 1853971 w 3702928"/>
              <a:gd name="connsiteY0" fmla="*/ 0 h 1059388"/>
              <a:gd name="connsiteX1" fmla="*/ 2805353 w 3702928"/>
              <a:gd name="connsiteY1" fmla="*/ 90464 h 1059388"/>
              <a:gd name="connsiteX2" fmla="*/ 2850615 w 3702928"/>
              <a:gd name="connsiteY2" fmla="*/ 102089 h 1059388"/>
              <a:gd name="connsiteX3" fmla="*/ 3029232 w 3702928"/>
              <a:gd name="connsiteY3" fmla="*/ 129141 h 1059388"/>
              <a:gd name="connsiteX4" fmla="*/ 3057097 w 3702928"/>
              <a:gd name="connsiteY4" fmla="*/ 134677 h 1059388"/>
              <a:gd name="connsiteX5" fmla="*/ 3057097 w 3702928"/>
              <a:gd name="connsiteY5" fmla="*/ 107409 h 1059388"/>
              <a:gd name="connsiteX6" fmla="*/ 3702928 w 3702928"/>
              <a:gd name="connsiteY6" fmla="*/ 107409 h 1059388"/>
              <a:gd name="connsiteX7" fmla="*/ 3702928 w 3702928"/>
              <a:gd name="connsiteY7" fmla="*/ 159037 h 1059388"/>
              <a:gd name="connsiteX8" fmla="*/ 3541652 w 3702928"/>
              <a:gd name="connsiteY8" fmla="*/ 605781 h 1059388"/>
              <a:gd name="connsiteX9" fmla="*/ 3521003 w 3702928"/>
              <a:gd name="connsiteY9" fmla="*/ 636446 h 1059388"/>
              <a:gd name="connsiteX10" fmla="*/ 1853971 w 3702928"/>
              <a:gd name="connsiteY10" fmla="*/ 1059388 h 1059388"/>
              <a:gd name="connsiteX11" fmla="*/ 186940 w 3702928"/>
              <a:gd name="connsiteY11" fmla="*/ 636446 h 1059388"/>
              <a:gd name="connsiteX12" fmla="*/ 162627 w 3702928"/>
              <a:gd name="connsiteY12" fmla="*/ 606255 h 1059388"/>
              <a:gd name="connsiteX13" fmla="*/ 0 w 3702928"/>
              <a:gd name="connsiteY13" fmla="*/ 155770 h 1059388"/>
              <a:gd name="connsiteX14" fmla="*/ 0 w 3702928"/>
              <a:gd name="connsiteY14" fmla="*/ 119640 h 1059388"/>
              <a:gd name="connsiteX15" fmla="*/ 732191 w 3702928"/>
              <a:gd name="connsiteY15" fmla="*/ 119640 h 1059388"/>
              <a:gd name="connsiteX16" fmla="*/ 816575 w 3702928"/>
              <a:gd name="connsiteY16" fmla="*/ 105848 h 1059388"/>
              <a:gd name="connsiteX17" fmla="*/ 867689 w 3702928"/>
              <a:gd name="connsiteY17" fmla="*/ 99427 h 1059388"/>
              <a:gd name="connsiteX18" fmla="*/ 902589 w 3702928"/>
              <a:gd name="connsiteY18" fmla="*/ 90464 h 1059388"/>
              <a:gd name="connsiteX19" fmla="*/ 1853971 w 3702928"/>
              <a:gd name="connsiteY19" fmla="*/ 0 h 1059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702928" h="1059388">
                <a:moveTo>
                  <a:pt x="1853971" y="0"/>
                </a:moveTo>
                <a:cubicBezTo>
                  <a:pt x="2206385" y="0"/>
                  <a:pt x="2533776" y="33350"/>
                  <a:pt x="2805353" y="90464"/>
                </a:cubicBezTo>
                <a:lnTo>
                  <a:pt x="2850615" y="102089"/>
                </a:lnTo>
                <a:lnTo>
                  <a:pt x="3029232" y="129141"/>
                </a:lnTo>
                <a:lnTo>
                  <a:pt x="3057097" y="134677"/>
                </a:lnTo>
                <a:lnTo>
                  <a:pt x="3057097" y="107409"/>
                </a:lnTo>
                <a:lnTo>
                  <a:pt x="3702928" y="107409"/>
                </a:lnTo>
                <a:lnTo>
                  <a:pt x="3702928" y="159037"/>
                </a:lnTo>
                <a:lnTo>
                  <a:pt x="3541652" y="605781"/>
                </a:lnTo>
                <a:lnTo>
                  <a:pt x="3521003" y="636446"/>
                </a:lnTo>
                <a:cubicBezTo>
                  <a:pt x="3362335" y="877819"/>
                  <a:pt x="2676269" y="1059388"/>
                  <a:pt x="1853971" y="1059388"/>
                </a:cubicBezTo>
                <a:cubicBezTo>
                  <a:pt x="1031673" y="1059388"/>
                  <a:pt x="345608" y="877819"/>
                  <a:pt x="186940" y="636446"/>
                </a:cubicBezTo>
                <a:lnTo>
                  <a:pt x="162627" y="606255"/>
                </a:lnTo>
                <a:lnTo>
                  <a:pt x="0" y="155770"/>
                </a:lnTo>
                <a:lnTo>
                  <a:pt x="0" y="119640"/>
                </a:lnTo>
                <a:lnTo>
                  <a:pt x="732191" y="119640"/>
                </a:lnTo>
                <a:lnTo>
                  <a:pt x="816575" y="105848"/>
                </a:lnTo>
                <a:lnTo>
                  <a:pt x="867689" y="99427"/>
                </a:lnTo>
                <a:lnTo>
                  <a:pt x="902589" y="90464"/>
                </a:lnTo>
                <a:cubicBezTo>
                  <a:pt x="1174167" y="33350"/>
                  <a:pt x="1501558" y="0"/>
                  <a:pt x="185397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Oval 12">
            <a:extLst>
              <a:ext uri="{FF2B5EF4-FFF2-40B4-BE49-F238E27FC236}">
                <a16:creationId xmlns:a16="http://schemas.microsoft.com/office/drawing/2014/main" id="{1B59820D-223B-579E-DAB7-8FC68DE50767}"/>
              </a:ext>
            </a:extLst>
          </p:cNvPr>
          <p:cNvSpPr>
            <a:spLocks/>
          </p:cNvSpPr>
          <p:nvPr/>
        </p:nvSpPr>
        <p:spPr>
          <a:xfrm>
            <a:off x="2356977" y="1890945"/>
            <a:ext cx="3246977" cy="99629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Freeform: Shape 56">
            <a:extLst>
              <a:ext uri="{FF2B5EF4-FFF2-40B4-BE49-F238E27FC236}">
                <a16:creationId xmlns:a16="http://schemas.microsoft.com/office/drawing/2014/main" id="{0E3429D0-691E-8EEB-C758-4B9E1E064E83}"/>
              </a:ext>
            </a:extLst>
          </p:cNvPr>
          <p:cNvSpPr>
            <a:spLocks/>
          </p:cNvSpPr>
          <p:nvPr/>
        </p:nvSpPr>
        <p:spPr>
          <a:xfrm>
            <a:off x="3318822" y="5292742"/>
            <a:ext cx="1347297" cy="501408"/>
          </a:xfrm>
          <a:custGeom>
            <a:avLst/>
            <a:gdLst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554901 w 1554901"/>
              <a:gd name="connsiteY4" fmla="*/ 130635 h 571762"/>
              <a:gd name="connsiteX5" fmla="*/ 1487180 w 1554901"/>
              <a:gd name="connsiteY5" fmla="*/ 318227 h 571762"/>
              <a:gd name="connsiteX6" fmla="*/ 1484559 w 1554901"/>
              <a:gd name="connsiteY6" fmla="*/ 319484 h 571762"/>
              <a:gd name="connsiteX7" fmla="*/ 1478509 w 1554901"/>
              <a:gd name="connsiteY7" fmla="*/ 343496 h 571762"/>
              <a:gd name="connsiteX8" fmla="*/ 778503 w 1554901"/>
              <a:gd name="connsiteY8" fmla="*/ 571762 h 571762"/>
              <a:gd name="connsiteX9" fmla="*/ 78498 w 1554901"/>
              <a:gd name="connsiteY9" fmla="*/ 343496 h 571762"/>
              <a:gd name="connsiteX10" fmla="*/ 72716 w 1554901"/>
              <a:gd name="connsiteY10" fmla="*/ 320550 h 571762"/>
              <a:gd name="connsiteX11" fmla="*/ 68289 w 1554901"/>
              <a:gd name="connsiteY11" fmla="*/ 318427 h 571762"/>
              <a:gd name="connsiteX12" fmla="*/ 0 w 1554901"/>
              <a:gd name="connsiteY12" fmla="*/ 129263 h 571762"/>
              <a:gd name="connsiteX13" fmla="*/ 0 w 1554901"/>
              <a:gd name="connsiteY13" fmla="*/ 114091 h 571762"/>
              <a:gd name="connsiteX14" fmla="*/ 210655 w 1554901"/>
              <a:gd name="connsiteY14" fmla="*/ 114091 h 571762"/>
              <a:gd name="connsiteX15" fmla="*/ 273260 w 1554901"/>
              <a:gd name="connsiteY15" fmla="*/ 83733 h 571762"/>
              <a:gd name="connsiteX16" fmla="*/ 778503 w 1554901"/>
              <a:gd name="connsiteY16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554901 w 1554901"/>
              <a:gd name="connsiteY4" fmla="*/ 130635 h 571762"/>
              <a:gd name="connsiteX5" fmla="*/ 1487180 w 1554901"/>
              <a:gd name="connsiteY5" fmla="*/ 318227 h 571762"/>
              <a:gd name="connsiteX6" fmla="*/ 1484559 w 1554901"/>
              <a:gd name="connsiteY6" fmla="*/ 319484 h 571762"/>
              <a:gd name="connsiteX7" fmla="*/ 1478509 w 1554901"/>
              <a:gd name="connsiteY7" fmla="*/ 343496 h 571762"/>
              <a:gd name="connsiteX8" fmla="*/ 778503 w 1554901"/>
              <a:gd name="connsiteY8" fmla="*/ 571762 h 571762"/>
              <a:gd name="connsiteX9" fmla="*/ 78498 w 1554901"/>
              <a:gd name="connsiteY9" fmla="*/ 343496 h 571762"/>
              <a:gd name="connsiteX10" fmla="*/ 72716 w 1554901"/>
              <a:gd name="connsiteY10" fmla="*/ 320550 h 571762"/>
              <a:gd name="connsiteX11" fmla="*/ 68289 w 1554901"/>
              <a:gd name="connsiteY11" fmla="*/ 318427 h 571762"/>
              <a:gd name="connsiteX12" fmla="*/ 0 w 1554901"/>
              <a:gd name="connsiteY12" fmla="*/ 114091 h 571762"/>
              <a:gd name="connsiteX13" fmla="*/ 210655 w 1554901"/>
              <a:gd name="connsiteY13" fmla="*/ 114091 h 571762"/>
              <a:gd name="connsiteX14" fmla="*/ 273260 w 1554901"/>
              <a:gd name="connsiteY14" fmla="*/ 83733 h 571762"/>
              <a:gd name="connsiteX15" fmla="*/ 778503 w 1554901"/>
              <a:gd name="connsiteY15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487180 w 1554901"/>
              <a:gd name="connsiteY4" fmla="*/ 318227 h 571762"/>
              <a:gd name="connsiteX5" fmla="*/ 1484559 w 1554901"/>
              <a:gd name="connsiteY5" fmla="*/ 319484 h 571762"/>
              <a:gd name="connsiteX6" fmla="*/ 1478509 w 1554901"/>
              <a:gd name="connsiteY6" fmla="*/ 343496 h 571762"/>
              <a:gd name="connsiteX7" fmla="*/ 778503 w 1554901"/>
              <a:gd name="connsiteY7" fmla="*/ 571762 h 571762"/>
              <a:gd name="connsiteX8" fmla="*/ 78498 w 1554901"/>
              <a:gd name="connsiteY8" fmla="*/ 343496 h 571762"/>
              <a:gd name="connsiteX9" fmla="*/ 72716 w 1554901"/>
              <a:gd name="connsiteY9" fmla="*/ 320550 h 571762"/>
              <a:gd name="connsiteX10" fmla="*/ 68289 w 1554901"/>
              <a:gd name="connsiteY10" fmla="*/ 318427 h 571762"/>
              <a:gd name="connsiteX11" fmla="*/ 0 w 1554901"/>
              <a:gd name="connsiteY11" fmla="*/ 114091 h 571762"/>
              <a:gd name="connsiteX12" fmla="*/ 210655 w 1554901"/>
              <a:gd name="connsiteY12" fmla="*/ 114091 h 571762"/>
              <a:gd name="connsiteX13" fmla="*/ 273260 w 1554901"/>
              <a:gd name="connsiteY13" fmla="*/ 83733 h 571762"/>
              <a:gd name="connsiteX14" fmla="*/ 778503 w 1554901"/>
              <a:gd name="connsiteY14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487180 w 1554901"/>
              <a:gd name="connsiteY4" fmla="*/ 318227 h 571762"/>
              <a:gd name="connsiteX5" fmla="*/ 1484559 w 1554901"/>
              <a:gd name="connsiteY5" fmla="*/ 319484 h 571762"/>
              <a:gd name="connsiteX6" fmla="*/ 1478509 w 1554901"/>
              <a:gd name="connsiteY6" fmla="*/ 343496 h 571762"/>
              <a:gd name="connsiteX7" fmla="*/ 778503 w 1554901"/>
              <a:gd name="connsiteY7" fmla="*/ 571762 h 571762"/>
              <a:gd name="connsiteX8" fmla="*/ 78498 w 1554901"/>
              <a:gd name="connsiteY8" fmla="*/ 343496 h 571762"/>
              <a:gd name="connsiteX9" fmla="*/ 72716 w 1554901"/>
              <a:gd name="connsiteY9" fmla="*/ 320550 h 571762"/>
              <a:gd name="connsiteX10" fmla="*/ 0 w 1554901"/>
              <a:gd name="connsiteY10" fmla="*/ 114091 h 571762"/>
              <a:gd name="connsiteX11" fmla="*/ 210655 w 1554901"/>
              <a:gd name="connsiteY11" fmla="*/ 114091 h 571762"/>
              <a:gd name="connsiteX12" fmla="*/ 273260 w 1554901"/>
              <a:gd name="connsiteY12" fmla="*/ 83733 h 571762"/>
              <a:gd name="connsiteX13" fmla="*/ 778503 w 1554901"/>
              <a:gd name="connsiteY13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487180 w 1554901"/>
              <a:gd name="connsiteY4" fmla="*/ 318227 h 571762"/>
              <a:gd name="connsiteX5" fmla="*/ 1484559 w 1554901"/>
              <a:gd name="connsiteY5" fmla="*/ 319484 h 571762"/>
              <a:gd name="connsiteX6" fmla="*/ 1478509 w 1554901"/>
              <a:gd name="connsiteY6" fmla="*/ 343496 h 571762"/>
              <a:gd name="connsiteX7" fmla="*/ 778503 w 1554901"/>
              <a:gd name="connsiteY7" fmla="*/ 571762 h 571762"/>
              <a:gd name="connsiteX8" fmla="*/ 78498 w 1554901"/>
              <a:gd name="connsiteY8" fmla="*/ 343496 h 571762"/>
              <a:gd name="connsiteX9" fmla="*/ 0 w 1554901"/>
              <a:gd name="connsiteY9" fmla="*/ 114091 h 571762"/>
              <a:gd name="connsiteX10" fmla="*/ 210655 w 1554901"/>
              <a:gd name="connsiteY10" fmla="*/ 114091 h 571762"/>
              <a:gd name="connsiteX11" fmla="*/ 273260 w 1554901"/>
              <a:gd name="connsiteY11" fmla="*/ 83733 h 571762"/>
              <a:gd name="connsiteX12" fmla="*/ 778503 w 1554901"/>
              <a:gd name="connsiteY12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487180 w 1554901"/>
              <a:gd name="connsiteY4" fmla="*/ 318227 h 571762"/>
              <a:gd name="connsiteX5" fmla="*/ 1478509 w 1554901"/>
              <a:gd name="connsiteY5" fmla="*/ 343496 h 571762"/>
              <a:gd name="connsiteX6" fmla="*/ 778503 w 1554901"/>
              <a:gd name="connsiteY6" fmla="*/ 571762 h 571762"/>
              <a:gd name="connsiteX7" fmla="*/ 78498 w 1554901"/>
              <a:gd name="connsiteY7" fmla="*/ 343496 h 571762"/>
              <a:gd name="connsiteX8" fmla="*/ 0 w 1554901"/>
              <a:gd name="connsiteY8" fmla="*/ 114091 h 571762"/>
              <a:gd name="connsiteX9" fmla="*/ 210655 w 1554901"/>
              <a:gd name="connsiteY9" fmla="*/ 114091 h 571762"/>
              <a:gd name="connsiteX10" fmla="*/ 273260 w 1554901"/>
              <a:gd name="connsiteY10" fmla="*/ 83733 h 571762"/>
              <a:gd name="connsiteX11" fmla="*/ 778503 w 1554901"/>
              <a:gd name="connsiteY11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478509 w 1554901"/>
              <a:gd name="connsiteY4" fmla="*/ 343496 h 571762"/>
              <a:gd name="connsiteX5" fmla="*/ 778503 w 1554901"/>
              <a:gd name="connsiteY5" fmla="*/ 571762 h 571762"/>
              <a:gd name="connsiteX6" fmla="*/ 78498 w 1554901"/>
              <a:gd name="connsiteY6" fmla="*/ 343496 h 571762"/>
              <a:gd name="connsiteX7" fmla="*/ 0 w 1554901"/>
              <a:gd name="connsiteY7" fmla="*/ 114091 h 571762"/>
              <a:gd name="connsiteX8" fmla="*/ 210655 w 1554901"/>
              <a:gd name="connsiteY8" fmla="*/ 114091 h 571762"/>
              <a:gd name="connsiteX9" fmla="*/ 273260 w 1554901"/>
              <a:gd name="connsiteY9" fmla="*/ 83733 h 571762"/>
              <a:gd name="connsiteX10" fmla="*/ 778503 w 1554901"/>
              <a:gd name="connsiteY10" fmla="*/ 0 h 571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54901" h="571762">
                <a:moveTo>
                  <a:pt x="778503" y="0"/>
                </a:moveTo>
                <a:cubicBezTo>
                  <a:pt x="975813" y="0"/>
                  <a:pt x="1154444" y="31998"/>
                  <a:pt x="1283747" y="83733"/>
                </a:cubicBezTo>
                <a:lnTo>
                  <a:pt x="1335760" y="108955"/>
                </a:lnTo>
                <a:lnTo>
                  <a:pt x="1554901" y="108955"/>
                </a:lnTo>
                <a:lnTo>
                  <a:pt x="1478509" y="343496"/>
                </a:lnTo>
                <a:cubicBezTo>
                  <a:pt x="1411882" y="473768"/>
                  <a:pt x="1123796" y="571762"/>
                  <a:pt x="778503" y="571762"/>
                </a:cubicBezTo>
                <a:cubicBezTo>
                  <a:pt x="433211" y="571762"/>
                  <a:pt x="145124" y="473768"/>
                  <a:pt x="78498" y="343496"/>
                </a:cubicBezTo>
                <a:lnTo>
                  <a:pt x="0" y="114091"/>
                </a:lnTo>
                <a:lnTo>
                  <a:pt x="210655" y="114091"/>
                </a:lnTo>
                <a:lnTo>
                  <a:pt x="273260" y="83733"/>
                </a:lnTo>
                <a:cubicBezTo>
                  <a:pt x="402563" y="31998"/>
                  <a:pt x="581193" y="0"/>
                  <a:pt x="77850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Oval 14">
            <a:extLst>
              <a:ext uri="{FF2B5EF4-FFF2-40B4-BE49-F238E27FC236}">
                <a16:creationId xmlns:a16="http://schemas.microsoft.com/office/drawing/2014/main" id="{EB26B52F-A1E0-1D1A-41E9-4829AFC1C17F}"/>
              </a:ext>
            </a:extLst>
          </p:cNvPr>
          <p:cNvSpPr>
            <a:spLocks/>
          </p:cNvSpPr>
          <p:nvPr/>
        </p:nvSpPr>
        <p:spPr>
          <a:xfrm>
            <a:off x="3321997" y="5180761"/>
            <a:ext cx="1344122" cy="41243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Freeform: Shape 55">
            <a:extLst>
              <a:ext uri="{FF2B5EF4-FFF2-40B4-BE49-F238E27FC236}">
                <a16:creationId xmlns:a16="http://schemas.microsoft.com/office/drawing/2014/main" id="{190503E3-6446-0CBF-DC0B-EE11B79F190A}"/>
              </a:ext>
            </a:extLst>
          </p:cNvPr>
          <p:cNvSpPr>
            <a:spLocks/>
          </p:cNvSpPr>
          <p:nvPr/>
        </p:nvSpPr>
        <p:spPr>
          <a:xfrm>
            <a:off x="2894962" y="3978200"/>
            <a:ext cx="2197839" cy="628789"/>
          </a:xfrm>
          <a:custGeom>
            <a:avLst/>
            <a:gdLst>
              <a:gd name="connsiteX0" fmla="*/ 1254808 w 2506222"/>
              <a:gd name="connsiteY0" fmla="*/ 0 h 717016"/>
              <a:gd name="connsiteX1" fmla="*/ 1898724 w 2506222"/>
              <a:gd name="connsiteY1" fmla="*/ 61228 h 717016"/>
              <a:gd name="connsiteX2" fmla="*/ 1953330 w 2506222"/>
              <a:gd name="connsiteY2" fmla="*/ 75252 h 717016"/>
              <a:gd name="connsiteX3" fmla="*/ 2050250 w 2506222"/>
              <a:gd name="connsiteY3" fmla="*/ 87405 h 717016"/>
              <a:gd name="connsiteX4" fmla="*/ 2069110 w 2506222"/>
              <a:gd name="connsiteY4" fmla="*/ 91152 h 717016"/>
              <a:gd name="connsiteX5" fmla="*/ 2069110 w 2506222"/>
              <a:gd name="connsiteY5" fmla="*/ 72696 h 717016"/>
              <a:gd name="connsiteX6" fmla="*/ 2506222 w 2506222"/>
              <a:gd name="connsiteY6" fmla="*/ 72696 h 717016"/>
              <a:gd name="connsiteX7" fmla="*/ 2506222 w 2506222"/>
              <a:gd name="connsiteY7" fmla="*/ 107640 h 717016"/>
              <a:gd name="connsiteX8" fmla="*/ 2397067 w 2506222"/>
              <a:gd name="connsiteY8" fmla="*/ 410005 h 717016"/>
              <a:gd name="connsiteX9" fmla="*/ 2388478 w 2506222"/>
              <a:gd name="connsiteY9" fmla="*/ 414125 h 717016"/>
              <a:gd name="connsiteX10" fmla="*/ 2383091 w 2506222"/>
              <a:gd name="connsiteY10" fmla="*/ 430760 h 717016"/>
              <a:gd name="connsiteX11" fmla="*/ 1254808 w 2506222"/>
              <a:gd name="connsiteY11" fmla="*/ 717016 h 717016"/>
              <a:gd name="connsiteX12" fmla="*/ 126525 w 2506222"/>
              <a:gd name="connsiteY12" fmla="*/ 430760 h 717016"/>
              <a:gd name="connsiteX13" fmla="*/ 121717 w 2506222"/>
              <a:gd name="connsiteY13" fmla="*/ 415913 h 717016"/>
              <a:gd name="connsiteX14" fmla="*/ 110070 w 2506222"/>
              <a:gd name="connsiteY14" fmla="*/ 410327 h 717016"/>
              <a:gd name="connsiteX15" fmla="*/ 0 w 2506222"/>
              <a:gd name="connsiteY15" fmla="*/ 105428 h 717016"/>
              <a:gd name="connsiteX16" fmla="*/ 0 w 2506222"/>
              <a:gd name="connsiteY16" fmla="*/ 80974 h 717016"/>
              <a:gd name="connsiteX17" fmla="*/ 495563 w 2506222"/>
              <a:gd name="connsiteY17" fmla="*/ 80974 h 717016"/>
              <a:gd name="connsiteX18" fmla="*/ 552675 w 2506222"/>
              <a:gd name="connsiteY18" fmla="*/ 71640 h 717016"/>
              <a:gd name="connsiteX19" fmla="*/ 582588 w 2506222"/>
              <a:gd name="connsiteY19" fmla="*/ 68497 h 717016"/>
              <a:gd name="connsiteX20" fmla="*/ 610892 w 2506222"/>
              <a:gd name="connsiteY20" fmla="*/ 61228 h 717016"/>
              <a:gd name="connsiteX21" fmla="*/ 1254808 w 2506222"/>
              <a:gd name="connsiteY21" fmla="*/ 0 h 717016"/>
              <a:gd name="connsiteX0" fmla="*/ 1254808 w 2506222"/>
              <a:gd name="connsiteY0" fmla="*/ 0 h 717016"/>
              <a:gd name="connsiteX1" fmla="*/ 1898724 w 2506222"/>
              <a:gd name="connsiteY1" fmla="*/ 61228 h 717016"/>
              <a:gd name="connsiteX2" fmla="*/ 1953330 w 2506222"/>
              <a:gd name="connsiteY2" fmla="*/ 75252 h 717016"/>
              <a:gd name="connsiteX3" fmla="*/ 2050250 w 2506222"/>
              <a:gd name="connsiteY3" fmla="*/ 87405 h 717016"/>
              <a:gd name="connsiteX4" fmla="*/ 2069110 w 2506222"/>
              <a:gd name="connsiteY4" fmla="*/ 91152 h 717016"/>
              <a:gd name="connsiteX5" fmla="*/ 2069110 w 2506222"/>
              <a:gd name="connsiteY5" fmla="*/ 72696 h 717016"/>
              <a:gd name="connsiteX6" fmla="*/ 2506222 w 2506222"/>
              <a:gd name="connsiteY6" fmla="*/ 72696 h 717016"/>
              <a:gd name="connsiteX7" fmla="*/ 2506222 w 2506222"/>
              <a:gd name="connsiteY7" fmla="*/ 107640 h 717016"/>
              <a:gd name="connsiteX8" fmla="*/ 2397067 w 2506222"/>
              <a:gd name="connsiteY8" fmla="*/ 410005 h 717016"/>
              <a:gd name="connsiteX9" fmla="*/ 2388478 w 2506222"/>
              <a:gd name="connsiteY9" fmla="*/ 414125 h 717016"/>
              <a:gd name="connsiteX10" fmla="*/ 2383091 w 2506222"/>
              <a:gd name="connsiteY10" fmla="*/ 430760 h 717016"/>
              <a:gd name="connsiteX11" fmla="*/ 1254808 w 2506222"/>
              <a:gd name="connsiteY11" fmla="*/ 717016 h 717016"/>
              <a:gd name="connsiteX12" fmla="*/ 126525 w 2506222"/>
              <a:gd name="connsiteY12" fmla="*/ 430760 h 717016"/>
              <a:gd name="connsiteX13" fmla="*/ 110070 w 2506222"/>
              <a:gd name="connsiteY13" fmla="*/ 410327 h 717016"/>
              <a:gd name="connsiteX14" fmla="*/ 0 w 2506222"/>
              <a:gd name="connsiteY14" fmla="*/ 105428 h 717016"/>
              <a:gd name="connsiteX15" fmla="*/ 0 w 2506222"/>
              <a:gd name="connsiteY15" fmla="*/ 80974 h 717016"/>
              <a:gd name="connsiteX16" fmla="*/ 495563 w 2506222"/>
              <a:gd name="connsiteY16" fmla="*/ 80974 h 717016"/>
              <a:gd name="connsiteX17" fmla="*/ 552675 w 2506222"/>
              <a:gd name="connsiteY17" fmla="*/ 71640 h 717016"/>
              <a:gd name="connsiteX18" fmla="*/ 582588 w 2506222"/>
              <a:gd name="connsiteY18" fmla="*/ 68497 h 717016"/>
              <a:gd name="connsiteX19" fmla="*/ 610892 w 2506222"/>
              <a:gd name="connsiteY19" fmla="*/ 61228 h 717016"/>
              <a:gd name="connsiteX20" fmla="*/ 1254808 w 2506222"/>
              <a:gd name="connsiteY20" fmla="*/ 0 h 717016"/>
              <a:gd name="connsiteX0" fmla="*/ 1254808 w 2506222"/>
              <a:gd name="connsiteY0" fmla="*/ 0 h 717016"/>
              <a:gd name="connsiteX1" fmla="*/ 1898724 w 2506222"/>
              <a:gd name="connsiteY1" fmla="*/ 61228 h 717016"/>
              <a:gd name="connsiteX2" fmla="*/ 1953330 w 2506222"/>
              <a:gd name="connsiteY2" fmla="*/ 75252 h 717016"/>
              <a:gd name="connsiteX3" fmla="*/ 2050250 w 2506222"/>
              <a:gd name="connsiteY3" fmla="*/ 87405 h 717016"/>
              <a:gd name="connsiteX4" fmla="*/ 2069110 w 2506222"/>
              <a:gd name="connsiteY4" fmla="*/ 91152 h 717016"/>
              <a:gd name="connsiteX5" fmla="*/ 2069110 w 2506222"/>
              <a:gd name="connsiteY5" fmla="*/ 72696 h 717016"/>
              <a:gd name="connsiteX6" fmla="*/ 2506222 w 2506222"/>
              <a:gd name="connsiteY6" fmla="*/ 72696 h 717016"/>
              <a:gd name="connsiteX7" fmla="*/ 2506222 w 2506222"/>
              <a:gd name="connsiteY7" fmla="*/ 107640 h 717016"/>
              <a:gd name="connsiteX8" fmla="*/ 2397067 w 2506222"/>
              <a:gd name="connsiteY8" fmla="*/ 410005 h 717016"/>
              <a:gd name="connsiteX9" fmla="*/ 2383091 w 2506222"/>
              <a:gd name="connsiteY9" fmla="*/ 430760 h 717016"/>
              <a:gd name="connsiteX10" fmla="*/ 1254808 w 2506222"/>
              <a:gd name="connsiteY10" fmla="*/ 717016 h 717016"/>
              <a:gd name="connsiteX11" fmla="*/ 126525 w 2506222"/>
              <a:gd name="connsiteY11" fmla="*/ 430760 h 717016"/>
              <a:gd name="connsiteX12" fmla="*/ 110070 w 2506222"/>
              <a:gd name="connsiteY12" fmla="*/ 410327 h 717016"/>
              <a:gd name="connsiteX13" fmla="*/ 0 w 2506222"/>
              <a:gd name="connsiteY13" fmla="*/ 105428 h 717016"/>
              <a:gd name="connsiteX14" fmla="*/ 0 w 2506222"/>
              <a:gd name="connsiteY14" fmla="*/ 80974 h 717016"/>
              <a:gd name="connsiteX15" fmla="*/ 495563 w 2506222"/>
              <a:gd name="connsiteY15" fmla="*/ 80974 h 717016"/>
              <a:gd name="connsiteX16" fmla="*/ 552675 w 2506222"/>
              <a:gd name="connsiteY16" fmla="*/ 71640 h 717016"/>
              <a:gd name="connsiteX17" fmla="*/ 582588 w 2506222"/>
              <a:gd name="connsiteY17" fmla="*/ 68497 h 717016"/>
              <a:gd name="connsiteX18" fmla="*/ 610892 w 2506222"/>
              <a:gd name="connsiteY18" fmla="*/ 61228 h 717016"/>
              <a:gd name="connsiteX19" fmla="*/ 1254808 w 2506222"/>
              <a:gd name="connsiteY19" fmla="*/ 0 h 717016"/>
              <a:gd name="connsiteX0" fmla="*/ 1254808 w 2506222"/>
              <a:gd name="connsiteY0" fmla="*/ 0 h 717016"/>
              <a:gd name="connsiteX1" fmla="*/ 1898724 w 2506222"/>
              <a:gd name="connsiteY1" fmla="*/ 61228 h 717016"/>
              <a:gd name="connsiteX2" fmla="*/ 1953330 w 2506222"/>
              <a:gd name="connsiteY2" fmla="*/ 75252 h 717016"/>
              <a:gd name="connsiteX3" fmla="*/ 2050250 w 2506222"/>
              <a:gd name="connsiteY3" fmla="*/ 87405 h 717016"/>
              <a:gd name="connsiteX4" fmla="*/ 2069110 w 2506222"/>
              <a:gd name="connsiteY4" fmla="*/ 91152 h 717016"/>
              <a:gd name="connsiteX5" fmla="*/ 2069110 w 2506222"/>
              <a:gd name="connsiteY5" fmla="*/ 72696 h 717016"/>
              <a:gd name="connsiteX6" fmla="*/ 2506222 w 2506222"/>
              <a:gd name="connsiteY6" fmla="*/ 72696 h 717016"/>
              <a:gd name="connsiteX7" fmla="*/ 2506222 w 2506222"/>
              <a:gd name="connsiteY7" fmla="*/ 107640 h 717016"/>
              <a:gd name="connsiteX8" fmla="*/ 2397067 w 2506222"/>
              <a:gd name="connsiteY8" fmla="*/ 410005 h 717016"/>
              <a:gd name="connsiteX9" fmla="*/ 2383091 w 2506222"/>
              <a:gd name="connsiteY9" fmla="*/ 430760 h 717016"/>
              <a:gd name="connsiteX10" fmla="*/ 1254808 w 2506222"/>
              <a:gd name="connsiteY10" fmla="*/ 717016 h 717016"/>
              <a:gd name="connsiteX11" fmla="*/ 126525 w 2506222"/>
              <a:gd name="connsiteY11" fmla="*/ 430760 h 717016"/>
              <a:gd name="connsiteX12" fmla="*/ 110070 w 2506222"/>
              <a:gd name="connsiteY12" fmla="*/ 410327 h 717016"/>
              <a:gd name="connsiteX13" fmla="*/ 0 w 2506222"/>
              <a:gd name="connsiteY13" fmla="*/ 80974 h 717016"/>
              <a:gd name="connsiteX14" fmla="*/ 495563 w 2506222"/>
              <a:gd name="connsiteY14" fmla="*/ 80974 h 717016"/>
              <a:gd name="connsiteX15" fmla="*/ 552675 w 2506222"/>
              <a:gd name="connsiteY15" fmla="*/ 71640 h 717016"/>
              <a:gd name="connsiteX16" fmla="*/ 582588 w 2506222"/>
              <a:gd name="connsiteY16" fmla="*/ 68497 h 717016"/>
              <a:gd name="connsiteX17" fmla="*/ 610892 w 2506222"/>
              <a:gd name="connsiteY17" fmla="*/ 61228 h 717016"/>
              <a:gd name="connsiteX18" fmla="*/ 1254808 w 2506222"/>
              <a:gd name="connsiteY18" fmla="*/ 0 h 717016"/>
              <a:gd name="connsiteX0" fmla="*/ 1254808 w 2506222"/>
              <a:gd name="connsiteY0" fmla="*/ 0 h 717016"/>
              <a:gd name="connsiteX1" fmla="*/ 1898724 w 2506222"/>
              <a:gd name="connsiteY1" fmla="*/ 61228 h 717016"/>
              <a:gd name="connsiteX2" fmla="*/ 1953330 w 2506222"/>
              <a:gd name="connsiteY2" fmla="*/ 75252 h 717016"/>
              <a:gd name="connsiteX3" fmla="*/ 2050250 w 2506222"/>
              <a:gd name="connsiteY3" fmla="*/ 87405 h 717016"/>
              <a:gd name="connsiteX4" fmla="*/ 2069110 w 2506222"/>
              <a:gd name="connsiteY4" fmla="*/ 91152 h 717016"/>
              <a:gd name="connsiteX5" fmla="*/ 2069110 w 2506222"/>
              <a:gd name="connsiteY5" fmla="*/ 72696 h 717016"/>
              <a:gd name="connsiteX6" fmla="*/ 2506222 w 2506222"/>
              <a:gd name="connsiteY6" fmla="*/ 72696 h 717016"/>
              <a:gd name="connsiteX7" fmla="*/ 2397067 w 2506222"/>
              <a:gd name="connsiteY7" fmla="*/ 410005 h 717016"/>
              <a:gd name="connsiteX8" fmla="*/ 2383091 w 2506222"/>
              <a:gd name="connsiteY8" fmla="*/ 430760 h 717016"/>
              <a:gd name="connsiteX9" fmla="*/ 1254808 w 2506222"/>
              <a:gd name="connsiteY9" fmla="*/ 717016 h 717016"/>
              <a:gd name="connsiteX10" fmla="*/ 126525 w 2506222"/>
              <a:gd name="connsiteY10" fmla="*/ 430760 h 717016"/>
              <a:gd name="connsiteX11" fmla="*/ 110070 w 2506222"/>
              <a:gd name="connsiteY11" fmla="*/ 410327 h 717016"/>
              <a:gd name="connsiteX12" fmla="*/ 0 w 2506222"/>
              <a:gd name="connsiteY12" fmla="*/ 80974 h 717016"/>
              <a:gd name="connsiteX13" fmla="*/ 495563 w 2506222"/>
              <a:gd name="connsiteY13" fmla="*/ 80974 h 717016"/>
              <a:gd name="connsiteX14" fmla="*/ 552675 w 2506222"/>
              <a:gd name="connsiteY14" fmla="*/ 71640 h 717016"/>
              <a:gd name="connsiteX15" fmla="*/ 582588 w 2506222"/>
              <a:gd name="connsiteY15" fmla="*/ 68497 h 717016"/>
              <a:gd name="connsiteX16" fmla="*/ 610892 w 2506222"/>
              <a:gd name="connsiteY16" fmla="*/ 61228 h 717016"/>
              <a:gd name="connsiteX17" fmla="*/ 1254808 w 2506222"/>
              <a:gd name="connsiteY17" fmla="*/ 0 h 717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506222" h="717016">
                <a:moveTo>
                  <a:pt x="1254808" y="0"/>
                </a:moveTo>
                <a:cubicBezTo>
                  <a:pt x="1493329" y="0"/>
                  <a:pt x="1714915" y="22572"/>
                  <a:pt x="1898724" y="61228"/>
                </a:cubicBezTo>
                <a:lnTo>
                  <a:pt x="1953330" y="75252"/>
                </a:lnTo>
                <a:lnTo>
                  <a:pt x="2050250" y="87405"/>
                </a:lnTo>
                <a:lnTo>
                  <a:pt x="2069110" y="91152"/>
                </a:lnTo>
                <a:lnTo>
                  <a:pt x="2069110" y="72696"/>
                </a:lnTo>
                <a:lnTo>
                  <a:pt x="2506222" y="72696"/>
                </a:lnTo>
                <a:lnTo>
                  <a:pt x="2397067" y="410005"/>
                </a:lnTo>
                <a:lnTo>
                  <a:pt x="2383091" y="430760"/>
                </a:lnTo>
                <a:cubicBezTo>
                  <a:pt x="2275701" y="594127"/>
                  <a:pt x="1811357" y="717016"/>
                  <a:pt x="1254808" y="717016"/>
                </a:cubicBezTo>
                <a:cubicBezTo>
                  <a:pt x="698259" y="717016"/>
                  <a:pt x="233915" y="594127"/>
                  <a:pt x="126525" y="430760"/>
                </a:cubicBezTo>
                <a:lnTo>
                  <a:pt x="110070" y="410327"/>
                </a:lnTo>
                <a:lnTo>
                  <a:pt x="0" y="80974"/>
                </a:lnTo>
                <a:lnTo>
                  <a:pt x="495563" y="80974"/>
                </a:lnTo>
                <a:lnTo>
                  <a:pt x="552675" y="71640"/>
                </a:lnTo>
                <a:lnTo>
                  <a:pt x="582588" y="68497"/>
                </a:lnTo>
                <a:lnTo>
                  <a:pt x="610892" y="61228"/>
                </a:lnTo>
                <a:cubicBezTo>
                  <a:pt x="794702" y="22572"/>
                  <a:pt x="1016287" y="0"/>
                  <a:pt x="12548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Oval 16">
            <a:extLst>
              <a:ext uri="{FF2B5EF4-FFF2-40B4-BE49-F238E27FC236}">
                <a16:creationId xmlns:a16="http://schemas.microsoft.com/office/drawing/2014/main" id="{1E194E31-C9FA-02BF-6868-53305F848C9E}"/>
              </a:ext>
            </a:extLst>
          </p:cNvPr>
          <p:cNvSpPr>
            <a:spLocks/>
          </p:cNvSpPr>
          <p:nvPr/>
        </p:nvSpPr>
        <p:spPr>
          <a:xfrm>
            <a:off x="2895177" y="3689286"/>
            <a:ext cx="2197624" cy="67431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Oval 17">
            <a:extLst>
              <a:ext uri="{FF2B5EF4-FFF2-40B4-BE49-F238E27FC236}">
                <a16:creationId xmlns:a16="http://schemas.microsoft.com/office/drawing/2014/main" id="{348295DE-ED04-2961-1DA5-E83949DD64BB}"/>
              </a:ext>
            </a:extLst>
          </p:cNvPr>
          <p:cNvSpPr>
            <a:spLocks/>
          </p:cNvSpPr>
          <p:nvPr/>
        </p:nvSpPr>
        <p:spPr>
          <a:xfrm>
            <a:off x="3380715" y="2199895"/>
            <a:ext cx="1236548" cy="3794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13" name="Straight Connector 18">
            <a:extLst>
              <a:ext uri="{FF2B5EF4-FFF2-40B4-BE49-F238E27FC236}">
                <a16:creationId xmlns:a16="http://schemas.microsoft.com/office/drawing/2014/main" id="{5ECDABC9-2B53-78CB-42F9-AAD102874C89}"/>
              </a:ext>
            </a:extLst>
          </p:cNvPr>
          <p:cNvCxnSpPr>
            <a:cxnSpLocks/>
            <a:stCxn id="4" idx="0"/>
            <a:endCxn id="4" idx="4"/>
          </p:cNvCxnSpPr>
          <p:nvPr/>
        </p:nvCxnSpPr>
        <p:spPr>
          <a:xfrm>
            <a:off x="3980465" y="1890945"/>
            <a:ext cx="0" cy="99629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9">
            <a:extLst>
              <a:ext uri="{FF2B5EF4-FFF2-40B4-BE49-F238E27FC236}">
                <a16:creationId xmlns:a16="http://schemas.microsoft.com/office/drawing/2014/main" id="{42D95A33-7A7D-2D62-3419-200E90EB5CB0}"/>
              </a:ext>
            </a:extLst>
          </p:cNvPr>
          <p:cNvCxnSpPr>
            <a:cxnSpLocks/>
            <a:stCxn id="4" idx="2"/>
            <a:endCxn id="4" idx="6"/>
          </p:cNvCxnSpPr>
          <p:nvPr/>
        </p:nvCxnSpPr>
        <p:spPr>
          <a:xfrm>
            <a:off x="2356977" y="2389094"/>
            <a:ext cx="324697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rrow: Right 113">
            <a:extLst>
              <a:ext uri="{FF2B5EF4-FFF2-40B4-BE49-F238E27FC236}">
                <a16:creationId xmlns:a16="http://schemas.microsoft.com/office/drawing/2014/main" id="{E77093B3-9946-C29C-8683-FCEF3E7CF385}"/>
              </a:ext>
            </a:extLst>
          </p:cNvPr>
          <p:cNvSpPr>
            <a:spLocks/>
          </p:cNvSpPr>
          <p:nvPr/>
        </p:nvSpPr>
        <p:spPr>
          <a:xfrm rot="16200000">
            <a:off x="3589394" y="1651410"/>
            <a:ext cx="800821" cy="6190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sng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33E96DB3-8FBC-4D6C-A745-D47FFD38E119}"/>
              </a:ext>
            </a:extLst>
          </p:cNvPr>
          <p:cNvSpPr txBox="1">
            <a:spLocks/>
          </p:cNvSpPr>
          <p:nvPr/>
        </p:nvSpPr>
        <p:spPr>
          <a:xfrm>
            <a:off x="760652" y="2400810"/>
            <a:ext cx="1346935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28809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accent1"/>
                </a:solidFill>
              </a:rPr>
              <a:t>Lorem ipsum dolor sit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2DC2F25E-78F6-3D3D-78B8-CE274846E2A3}"/>
              </a:ext>
            </a:extLst>
          </p:cNvPr>
          <p:cNvSpPr txBox="1">
            <a:spLocks/>
          </p:cNvSpPr>
          <p:nvPr/>
        </p:nvSpPr>
        <p:spPr>
          <a:xfrm>
            <a:off x="760651" y="4019690"/>
            <a:ext cx="1346936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defTabSz="428809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b="1">
                <a:solidFill>
                  <a:schemeClr val="accent1"/>
                </a:solidFill>
              </a:rPr>
              <a:t>Lorem ipsum dolor sit</a:t>
            </a:r>
          </a:p>
        </p:txBody>
      </p:sp>
      <p:sp>
        <p:nvSpPr>
          <p:cNvPr id="18" name="TextBox 26">
            <a:extLst>
              <a:ext uri="{FF2B5EF4-FFF2-40B4-BE49-F238E27FC236}">
                <a16:creationId xmlns:a16="http://schemas.microsoft.com/office/drawing/2014/main" id="{7B4EB648-5615-64FF-6844-835BD9C15359}"/>
              </a:ext>
            </a:extLst>
          </p:cNvPr>
          <p:cNvSpPr txBox="1">
            <a:spLocks/>
          </p:cNvSpPr>
          <p:nvPr/>
        </p:nvSpPr>
        <p:spPr>
          <a:xfrm>
            <a:off x="760651" y="5359656"/>
            <a:ext cx="1346936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defTabSz="428809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b="1">
                <a:solidFill>
                  <a:schemeClr val="accent1"/>
                </a:solidFill>
              </a:rPr>
              <a:t>Lorem ipsum dolor sit</a:t>
            </a:r>
          </a:p>
        </p:txBody>
      </p:sp>
      <p:sp>
        <p:nvSpPr>
          <p:cNvPr id="19" name="Arrow: Right 113">
            <a:extLst>
              <a:ext uri="{FF2B5EF4-FFF2-40B4-BE49-F238E27FC236}">
                <a16:creationId xmlns:a16="http://schemas.microsoft.com/office/drawing/2014/main" id="{E97A929A-3D9E-6946-A2C6-6CC2F84A7CC5}"/>
              </a:ext>
            </a:extLst>
          </p:cNvPr>
          <p:cNvSpPr>
            <a:spLocks/>
          </p:cNvSpPr>
          <p:nvPr/>
        </p:nvSpPr>
        <p:spPr>
          <a:xfrm rot="16200000">
            <a:off x="3589394" y="3480275"/>
            <a:ext cx="800821" cy="6190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sng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0" name="Arrow: Right 113">
            <a:extLst>
              <a:ext uri="{FF2B5EF4-FFF2-40B4-BE49-F238E27FC236}">
                <a16:creationId xmlns:a16="http://schemas.microsoft.com/office/drawing/2014/main" id="{E8A3657C-5D02-861D-AD99-4DCE3890D295}"/>
              </a:ext>
            </a:extLst>
          </p:cNvPr>
          <p:cNvSpPr>
            <a:spLocks/>
          </p:cNvSpPr>
          <p:nvPr/>
        </p:nvSpPr>
        <p:spPr>
          <a:xfrm rot="16200000">
            <a:off x="3589395" y="4743468"/>
            <a:ext cx="800821" cy="6190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sng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C450F272-D201-2244-86FD-3DBB7E8941FD}"/>
              </a:ext>
            </a:extLst>
          </p:cNvPr>
          <p:cNvSpPr txBox="1">
            <a:spLocks/>
          </p:cNvSpPr>
          <p:nvPr/>
        </p:nvSpPr>
        <p:spPr>
          <a:xfrm>
            <a:off x="6020955" y="2264618"/>
            <a:ext cx="5292843" cy="7771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ipiscing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lit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sed do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usmod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mpor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cididunt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t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abore et dolore magna. 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425D6B-6252-B59C-DA25-6C642B429F0A}"/>
              </a:ext>
            </a:extLst>
          </p:cNvPr>
          <p:cNvSpPr txBox="1">
            <a:spLocks/>
          </p:cNvSpPr>
          <p:nvPr/>
        </p:nvSpPr>
        <p:spPr>
          <a:xfrm>
            <a:off x="6020956" y="3675946"/>
            <a:ext cx="5292843" cy="7771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 kumimoji="0" sz="2000" i="0" u="none" strike="noStrike" cap="none" spc="0" normalizeH="0" baseline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>
                <a:latin typeface="+mn-lt"/>
                <a:cs typeface="+mn-cs"/>
              </a:rPr>
              <a:t>Lorem ipsum dolor sit </a:t>
            </a:r>
            <a:r>
              <a:rPr lang="en-US" err="1">
                <a:latin typeface="+mn-lt"/>
                <a:cs typeface="+mn-cs"/>
              </a:rPr>
              <a:t>amet</a:t>
            </a:r>
            <a:r>
              <a:rPr lang="en-US">
                <a:latin typeface="+mn-lt"/>
                <a:cs typeface="+mn-cs"/>
              </a:rPr>
              <a:t> </a:t>
            </a:r>
          </a:p>
          <a:p>
            <a:pPr>
              <a:defRPr/>
            </a:pP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consectetur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adipiscing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elit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, sed do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eiusmod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tempor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incididunt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ut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labore et dolore magna. 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94BE5D22-2B88-93D1-5C71-12195186C6FF}"/>
              </a:ext>
            </a:extLst>
          </p:cNvPr>
          <p:cNvSpPr txBox="1">
            <a:spLocks/>
          </p:cNvSpPr>
          <p:nvPr/>
        </p:nvSpPr>
        <p:spPr>
          <a:xfrm>
            <a:off x="6020956" y="5087273"/>
            <a:ext cx="5292843" cy="7771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 kumimoji="0" sz="2000" i="0" u="none" strike="noStrike" cap="none" spc="0" normalizeH="0" baseline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>
                <a:latin typeface="+mn-lt"/>
                <a:cs typeface="+mn-cs"/>
              </a:rPr>
              <a:t>Lorem ipsum dolor sit </a:t>
            </a:r>
            <a:r>
              <a:rPr lang="en-US" err="1">
                <a:latin typeface="+mn-lt"/>
                <a:cs typeface="+mn-cs"/>
              </a:rPr>
              <a:t>amet</a:t>
            </a:r>
            <a:r>
              <a:rPr lang="en-US">
                <a:latin typeface="+mn-lt"/>
                <a:cs typeface="+mn-cs"/>
              </a:rPr>
              <a:t> </a:t>
            </a:r>
          </a:p>
          <a:p>
            <a:pPr>
              <a:defRPr/>
            </a:pP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consectetur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adipiscing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elit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, sed do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eiusmod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tempor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incididunt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cs typeface="+mn-cs"/>
              </a:rPr>
              <a:t>ut</a:t>
            </a:r>
            <a:r>
              <a:rPr lang="en-US" sz="1400">
                <a:solidFill>
                  <a:schemeClr val="tx1"/>
                </a:solidFill>
                <a:latin typeface="+mn-lt"/>
                <a:cs typeface="+mn-cs"/>
              </a:rPr>
              <a:t> labore et dolore magna. </a:t>
            </a:r>
          </a:p>
        </p:txBody>
      </p:sp>
      <p:cxnSp>
        <p:nvCxnSpPr>
          <p:cNvPr id="24" name="Gerader Verbinder 40">
            <a:extLst>
              <a:ext uri="{FF2B5EF4-FFF2-40B4-BE49-F238E27FC236}">
                <a16:creationId xmlns:a16="http://schemas.microsoft.com/office/drawing/2014/main" id="{9F73FE88-1F1A-1706-3E63-F6694ED73B71}"/>
              </a:ext>
            </a:extLst>
          </p:cNvPr>
          <p:cNvCxnSpPr>
            <a:cxnSpLocks/>
          </p:cNvCxnSpPr>
          <p:nvPr/>
        </p:nvCxnSpPr>
        <p:spPr>
          <a:xfrm>
            <a:off x="6020955" y="3358850"/>
            <a:ext cx="529284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41">
            <a:extLst>
              <a:ext uri="{FF2B5EF4-FFF2-40B4-BE49-F238E27FC236}">
                <a16:creationId xmlns:a16="http://schemas.microsoft.com/office/drawing/2014/main" id="{95665633-9B17-95F8-24F0-72C4DA7E0B96}"/>
              </a:ext>
            </a:extLst>
          </p:cNvPr>
          <p:cNvCxnSpPr>
            <a:cxnSpLocks/>
          </p:cNvCxnSpPr>
          <p:nvPr/>
        </p:nvCxnSpPr>
        <p:spPr>
          <a:xfrm>
            <a:off x="6020955" y="4770178"/>
            <a:ext cx="529284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8ECDD59C-7AC6-10D8-365C-DD5C4E18910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19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funnels</a:t>
            </a:r>
          </a:p>
        </p:txBody>
      </p:sp>
    </p:spTree>
    <p:extLst>
      <p:ext uri="{BB962C8B-B14F-4D97-AF65-F5344CB8AC3E}">
        <p14:creationId xmlns:p14="http://schemas.microsoft.com/office/powerpoint/2010/main" val="418282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